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7"/>
  </p:notesMasterIdLst>
  <p:sldIdLst>
    <p:sldId id="366" r:id="rId2"/>
    <p:sldId id="367" r:id="rId3"/>
    <p:sldId id="369" r:id="rId4"/>
    <p:sldId id="370" r:id="rId5"/>
    <p:sldId id="368" r:id="rId6"/>
  </p:sldIdLst>
  <p:sldSz cx="12192000" cy="6858000"/>
  <p:notesSz cx="6858000" cy="9144000"/>
  <p:embeddedFontLst>
    <p:embeddedFont>
      <p:font typeface="Roboto" panose="02000000000000000000" pitchFamily="2" charset="0"/>
      <p:regular r:id="rId8"/>
      <p:bold r:id="rId9"/>
      <p:italic r:id="rId10"/>
      <p:boldItalic r:id="rId11"/>
    </p:embeddedFont>
    <p:embeddedFont>
      <p:font typeface="Rubik" panose="00000500000000000000" pitchFamily="50" charset="-79"/>
      <p:regular r:id="rId12"/>
      <p:bold r:id="rId13"/>
      <p:italic r:id="rId14"/>
    </p:embeddedFont>
    <p:embeddedFont>
      <p:font typeface="Trebuchet MS" panose="020B060302020202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329CC4-BB2E-46D8-A98F-E0C74213AB51}" v="13" dt="2022-02-02T12:48:01.860"/>
    <p1510:client id="{F5C2C419-7622-47E6-BAB8-6CFBB2C359AD}" v="28" dt="2022-02-02T10:31:20.797"/>
  </p1510:revLst>
</p1510:revInfo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>
        <p:scale>
          <a:sx n="80" d="100"/>
          <a:sy n="80" d="100"/>
        </p:scale>
        <p:origin x="782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23" Type="http://schemas.openxmlformats.org/officeDocument/2006/relationships/tableStyles" Target="tableStyles.xml"/><Relationship Id="rId10" Type="http://schemas.openxmlformats.org/officeDocument/2006/relationships/font" Target="fonts/font3.fntdata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i, Rekha" userId="f873e4df-22f8-4c1d-beee-7e9cceb29a14" providerId="ADAL" clId="{F5C2C419-7622-47E6-BAB8-6CFBB2C359AD}"/>
    <pc:docChg chg="undo custSel addSld modSld">
      <pc:chgData name="Kumari, Rekha" userId="f873e4df-22f8-4c1d-beee-7e9cceb29a14" providerId="ADAL" clId="{F5C2C419-7622-47E6-BAB8-6CFBB2C359AD}" dt="2022-02-02T11:01:51.813" v="1379" actId="313"/>
      <pc:docMkLst>
        <pc:docMk/>
      </pc:docMkLst>
      <pc:sldChg chg="addSp delSp modSp mod">
        <pc:chgData name="Kumari, Rekha" userId="f873e4df-22f8-4c1d-beee-7e9cceb29a14" providerId="ADAL" clId="{F5C2C419-7622-47E6-BAB8-6CFBB2C359AD}" dt="2022-02-02T11:00:39.191" v="1361" actId="20577"/>
        <pc:sldMkLst>
          <pc:docMk/>
          <pc:sldMk cId="684571084" sldId="366"/>
        </pc:sldMkLst>
        <pc:spChg chg="add del mod">
          <ac:chgData name="Kumari, Rekha" userId="f873e4df-22f8-4c1d-beee-7e9cceb29a14" providerId="ADAL" clId="{F5C2C419-7622-47E6-BAB8-6CFBB2C359AD}" dt="2022-02-01T20:47:23.520" v="8" actId="478"/>
          <ac:spMkLst>
            <pc:docMk/>
            <pc:sldMk cId="684571084" sldId="366"/>
            <ac:spMk id="3" creationId="{7B5E478B-5EAF-4862-915D-FE9C585EA191}"/>
          </ac:spMkLst>
        </pc:spChg>
        <pc:spChg chg="add del mod">
          <ac:chgData name="Kumari, Rekha" userId="f873e4df-22f8-4c1d-beee-7e9cceb29a14" providerId="ADAL" clId="{F5C2C419-7622-47E6-BAB8-6CFBB2C359AD}" dt="2022-02-01T20:47:30.675" v="10" actId="478"/>
          <ac:spMkLst>
            <pc:docMk/>
            <pc:sldMk cId="684571084" sldId="366"/>
            <ac:spMk id="4" creationId="{2DD4C283-30EF-46A2-904D-F33D77D11A19}"/>
          </ac:spMkLst>
        </pc:spChg>
        <pc:spChg chg="add del">
          <ac:chgData name="Kumari, Rekha" userId="f873e4df-22f8-4c1d-beee-7e9cceb29a14" providerId="ADAL" clId="{F5C2C419-7622-47E6-BAB8-6CFBB2C359AD}" dt="2022-02-01T20:46:49.709" v="3" actId="22"/>
          <ac:spMkLst>
            <pc:docMk/>
            <pc:sldMk cId="684571084" sldId="366"/>
            <ac:spMk id="9" creationId="{CC558705-C64F-4275-A305-12C6A8ACC665}"/>
          </ac:spMkLst>
        </pc:spChg>
        <pc:spChg chg="mod">
          <ac:chgData name="Kumari, Rekha" userId="f873e4df-22f8-4c1d-beee-7e9cceb29a14" providerId="ADAL" clId="{F5C2C419-7622-47E6-BAB8-6CFBB2C359AD}" dt="2022-02-01T20:35:35.165" v="0" actId="14100"/>
          <ac:spMkLst>
            <pc:docMk/>
            <pc:sldMk cId="684571084" sldId="366"/>
            <ac:spMk id="17" creationId="{86EFEFE6-40D8-4F98-A8DC-DB4A69331A78}"/>
          </ac:spMkLst>
        </pc:spChg>
        <pc:spChg chg="mod">
          <ac:chgData name="Kumari, Rekha" userId="f873e4df-22f8-4c1d-beee-7e9cceb29a14" providerId="ADAL" clId="{F5C2C419-7622-47E6-BAB8-6CFBB2C359AD}" dt="2022-02-02T11:00:39.191" v="1361" actId="20577"/>
          <ac:spMkLst>
            <pc:docMk/>
            <pc:sldMk cId="684571084" sldId="366"/>
            <ac:spMk id="18" creationId="{1A8455E1-E124-45CE-B4DD-AE99CCF9A248}"/>
          </ac:spMkLst>
        </pc:spChg>
        <pc:spChg chg="add del mod">
          <ac:chgData name="Kumari, Rekha" userId="f873e4df-22f8-4c1d-beee-7e9cceb29a14" providerId="ADAL" clId="{F5C2C419-7622-47E6-BAB8-6CFBB2C359AD}" dt="2022-02-01T20:51:30.877" v="22" actId="931"/>
          <ac:spMkLst>
            <pc:docMk/>
            <pc:sldMk cId="684571084" sldId="366"/>
            <ac:spMk id="19" creationId="{BBAF474D-C48B-47A3-AD43-776B973A4A16}"/>
          </ac:spMkLst>
        </pc:spChg>
        <pc:picChg chg="add mod">
          <ac:chgData name="Kumari, Rekha" userId="f873e4df-22f8-4c1d-beee-7e9cceb29a14" providerId="ADAL" clId="{F5C2C419-7622-47E6-BAB8-6CFBB2C359AD}" dt="2022-02-01T20:52:33.505" v="32" actId="14100"/>
          <ac:picMkLst>
            <pc:docMk/>
            <pc:sldMk cId="684571084" sldId="366"/>
            <ac:picMk id="8" creationId="{A1CF21FF-C68D-4886-91EF-6A2087D3DC1F}"/>
          </ac:picMkLst>
        </pc:picChg>
        <pc:picChg chg="add del mod">
          <ac:chgData name="Kumari, Rekha" userId="f873e4df-22f8-4c1d-beee-7e9cceb29a14" providerId="ADAL" clId="{F5C2C419-7622-47E6-BAB8-6CFBB2C359AD}" dt="2022-02-01T20:47:38.665" v="13"/>
          <ac:picMkLst>
            <pc:docMk/>
            <pc:sldMk cId="684571084" sldId="366"/>
            <ac:picMk id="1026" creationId="{8E38507F-7CCF-4CA4-92A2-F54623221BCB}"/>
          </ac:picMkLst>
        </pc:picChg>
        <pc:picChg chg="add del mod">
          <ac:chgData name="Kumari, Rekha" userId="f873e4df-22f8-4c1d-beee-7e9cceb29a14" providerId="ADAL" clId="{F5C2C419-7622-47E6-BAB8-6CFBB2C359AD}" dt="2022-02-01T20:48:54.704" v="19"/>
          <ac:picMkLst>
            <pc:docMk/>
            <pc:sldMk cId="684571084" sldId="366"/>
            <ac:picMk id="1028" creationId="{483118CD-8919-4024-BBDF-B15C982678CB}"/>
          </ac:picMkLst>
        </pc:picChg>
      </pc:sldChg>
      <pc:sldChg chg="modSp mod">
        <pc:chgData name="Kumari, Rekha" userId="f873e4df-22f8-4c1d-beee-7e9cceb29a14" providerId="ADAL" clId="{F5C2C419-7622-47E6-BAB8-6CFBB2C359AD}" dt="2022-02-02T11:01:51.813" v="1379" actId="313"/>
        <pc:sldMkLst>
          <pc:docMk/>
          <pc:sldMk cId="1022597847" sldId="367"/>
        </pc:sldMkLst>
        <pc:spChg chg="mod">
          <ac:chgData name="Kumari, Rekha" userId="f873e4df-22f8-4c1d-beee-7e9cceb29a14" providerId="ADAL" clId="{F5C2C419-7622-47E6-BAB8-6CFBB2C359AD}" dt="2022-02-02T11:01:51.813" v="1379" actId="313"/>
          <ac:spMkLst>
            <pc:docMk/>
            <pc:sldMk cId="1022597847" sldId="367"/>
            <ac:spMk id="6" creationId="{525CBB0E-B869-4882-8948-65DD257EDC97}"/>
          </ac:spMkLst>
        </pc:spChg>
      </pc:sldChg>
      <pc:sldChg chg="addSp delSp modSp mod">
        <pc:chgData name="Kumari, Rekha" userId="f873e4df-22f8-4c1d-beee-7e9cceb29a14" providerId="ADAL" clId="{F5C2C419-7622-47E6-BAB8-6CFBB2C359AD}" dt="2022-02-02T10:31:30.630" v="987" actId="20577"/>
        <pc:sldMkLst>
          <pc:docMk/>
          <pc:sldMk cId="1336772705" sldId="369"/>
        </pc:sldMkLst>
        <pc:spChg chg="mod">
          <ac:chgData name="Kumari, Rekha" userId="f873e4df-22f8-4c1d-beee-7e9cceb29a14" providerId="ADAL" clId="{F5C2C419-7622-47E6-BAB8-6CFBB2C359AD}" dt="2022-02-02T10:31:30.630" v="987" actId="20577"/>
          <ac:spMkLst>
            <pc:docMk/>
            <pc:sldMk cId="1336772705" sldId="369"/>
            <ac:spMk id="2" creationId="{3729475E-5342-4F14-86B6-B051CA586F3F}"/>
          </ac:spMkLst>
        </pc:spChg>
        <pc:spChg chg="mod">
          <ac:chgData name="Kumari, Rekha" userId="f873e4df-22f8-4c1d-beee-7e9cceb29a14" providerId="ADAL" clId="{F5C2C419-7622-47E6-BAB8-6CFBB2C359AD}" dt="2022-02-02T10:29:23.750" v="958" actId="20577"/>
          <ac:spMkLst>
            <pc:docMk/>
            <pc:sldMk cId="1336772705" sldId="369"/>
            <ac:spMk id="5" creationId="{52816D73-16BF-4DE5-9470-389365833768}"/>
          </ac:spMkLst>
        </pc:spChg>
        <pc:spChg chg="del">
          <ac:chgData name="Kumari, Rekha" userId="f873e4df-22f8-4c1d-beee-7e9cceb29a14" providerId="ADAL" clId="{F5C2C419-7622-47E6-BAB8-6CFBB2C359AD}" dt="2022-02-02T10:27:45.281" v="922"/>
          <ac:spMkLst>
            <pc:docMk/>
            <pc:sldMk cId="1336772705" sldId="369"/>
            <ac:spMk id="6" creationId="{8300A30E-56D3-4B3A-8CDB-4EC8BF085B07}"/>
          </ac:spMkLst>
        </pc:spChg>
        <pc:picChg chg="add mod">
          <ac:chgData name="Kumari, Rekha" userId="f873e4df-22f8-4c1d-beee-7e9cceb29a14" providerId="ADAL" clId="{F5C2C419-7622-47E6-BAB8-6CFBB2C359AD}" dt="2022-02-02T10:31:13.157" v="984" actId="1076"/>
          <ac:picMkLst>
            <pc:docMk/>
            <pc:sldMk cId="1336772705" sldId="369"/>
            <ac:picMk id="2050" creationId="{81C1E572-DE56-41D7-B458-32EDB0E1F934}"/>
          </ac:picMkLst>
        </pc:picChg>
        <pc:picChg chg="add del mod">
          <ac:chgData name="Kumari, Rekha" userId="f873e4df-22f8-4c1d-beee-7e9cceb29a14" providerId="ADAL" clId="{F5C2C419-7622-47E6-BAB8-6CFBB2C359AD}" dt="2022-02-02T10:31:03.452" v="976" actId="21"/>
          <ac:picMkLst>
            <pc:docMk/>
            <pc:sldMk cId="1336772705" sldId="369"/>
            <ac:picMk id="2052" creationId="{7A5ADCFE-70B1-43F3-A480-E5107D87EB95}"/>
          </ac:picMkLst>
        </pc:picChg>
      </pc:sldChg>
      <pc:sldChg chg="addSp delSp modSp new mod">
        <pc:chgData name="Kumari, Rekha" userId="f873e4df-22f8-4c1d-beee-7e9cceb29a14" providerId="ADAL" clId="{F5C2C419-7622-47E6-BAB8-6CFBB2C359AD}" dt="2022-02-02T10:31:26.243" v="986" actId="20577"/>
        <pc:sldMkLst>
          <pc:docMk/>
          <pc:sldMk cId="2723174052" sldId="370"/>
        </pc:sldMkLst>
        <pc:spChg chg="mod">
          <ac:chgData name="Kumari, Rekha" userId="f873e4df-22f8-4c1d-beee-7e9cceb29a14" providerId="ADAL" clId="{F5C2C419-7622-47E6-BAB8-6CFBB2C359AD}" dt="2022-02-02T10:31:26.243" v="986" actId="20577"/>
          <ac:spMkLst>
            <pc:docMk/>
            <pc:sldMk cId="2723174052" sldId="370"/>
            <ac:spMk id="2" creationId="{97F63D88-CEB5-4BF4-B115-AB3C72C15C9A}"/>
          </ac:spMkLst>
        </pc:spChg>
        <pc:spChg chg="del">
          <ac:chgData name="Kumari, Rekha" userId="f873e4df-22f8-4c1d-beee-7e9cceb29a14" providerId="ADAL" clId="{F5C2C419-7622-47E6-BAB8-6CFBB2C359AD}" dt="2022-02-02T10:31:20.797" v="985"/>
          <ac:spMkLst>
            <pc:docMk/>
            <pc:sldMk cId="2723174052" sldId="370"/>
            <ac:spMk id="6" creationId="{CE49C427-D5F0-4B9D-B4E6-67D6DFF5B489}"/>
          </ac:spMkLst>
        </pc:spChg>
        <pc:picChg chg="add mod">
          <ac:chgData name="Kumari, Rekha" userId="f873e4df-22f8-4c1d-beee-7e9cceb29a14" providerId="ADAL" clId="{F5C2C419-7622-47E6-BAB8-6CFBB2C359AD}" dt="2022-02-02T10:31:20.797" v="985"/>
          <ac:picMkLst>
            <pc:docMk/>
            <pc:sldMk cId="2723174052" sldId="370"/>
            <ac:picMk id="7" creationId="{CAFD7B02-BDDE-4D1C-99F2-3589B83BC46E}"/>
          </ac:picMkLst>
        </pc:picChg>
      </pc:sldChg>
    </pc:docChg>
  </pc:docChgLst>
  <pc:docChgLst>
    <pc:chgData name="Kumari, Rekha" userId="f873e4df-22f8-4c1d-beee-7e9cceb29a14" providerId="ADAL" clId="{BF329CC4-BB2E-46D8-A98F-E0C74213AB51}"/>
    <pc:docChg chg="undo redo custSel modSld">
      <pc:chgData name="Kumari, Rekha" userId="f873e4df-22f8-4c1d-beee-7e9cceb29a14" providerId="ADAL" clId="{BF329CC4-BB2E-46D8-A98F-E0C74213AB51}" dt="2022-02-02T12:48:01.859" v="1352" actId="1076"/>
      <pc:docMkLst>
        <pc:docMk/>
      </pc:docMkLst>
      <pc:sldChg chg="addSp delSp modSp mod">
        <pc:chgData name="Kumari, Rekha" userId="f873e4df-22f8-4c1d-beee-7e9cceb29a14" providerId="ADAL" clId="{BF329CC4-BB2E-46D8-A98F-E0C74213AB51}" dt="2022-02-02T12:48:01.859" v="1352" actId="1076"/>
        <pc:sldMkLst>
          <pc:docMk/>
          <pc:sldMk cId="684571084" sldId="366"/>
        </pc:sldMkLst>
        <pc:spChg chg="add del mod">
          <ac:chgData name="Kumari, Rekha" userId="f873e4df-22f8-4c1d-beee-7e9cceb29a14" providerId="ADAL" clId="{BF329CC4-BB2E-46D8-A98F-E0C74213AB51}" dt="2022-02-02T12:46:02.468" v="1325" actId="478"/>
          <ac:spMkLst>
            <pc:docMk/>
            <pc:sldMk cId="684571084" sldId="366"/>
            <ac:spMk id="3" creationId="{2F4F6037-A943-4AE9-B686-ADD9E21C83BF}"/>
          </ac:spMkLst>
        </pc:spChg>
        <pc:spChg chg="add del mod">
          <ac:chgData name="Kumari, Rekha" userId="f873e4df-22f8-4c1d-beee-7e9cceb29a14" providerId="ADAL" clId="{BF329CC4-BB2E-46D8-A98F-E0C74213AB51}" dt="2022-02-02T12:46:07.670" v="1327" actId="21"/>
          <ac:spMkLst>
            <pc:docMk/>
            <pc:sldMk cId="684571084" sldId="366"/>
            <ac:spMk id="5" creationId="{D2FB5F2D-5C75-4EDA-B107-94D8D36F5C46}"/>
          </ac:spMkLst>
        </pc:spChg>
        <pc:spChg chg="add del mod">
          <ac:chgData name="Kumari, Rekha" userId="f873e4df-22f8-4c1d-beee-7e9cceb29a14" providerId="ADAL" clId="{BF329CC4-BB2E-46D8-A98F-E0C74213AB51}" dt="2022-02-02T12:46:30.915" v="1331" actId="478"/>
          <ac:spMkLst>
            <pc:docMk/>
            <pc:sldMk cId="684571084" sldId="366"/>
            <ac:spMk id="10" creationId="{C9A8165D-6B3D-4EE6-A81D-60CF88F903EC}"/>
          </ac:spMkLst>
        </pc:spChg>
        <pc:spChg chg="add del mod">
          <ac:chgData name="Kumari, Rekha" userId="f873e4df-22f8-4c1d-beee-7e9cceb29a14" providerId="ADAL" clId="{BF329CC4-BB2E-46D8-A98F-E0C74213AB51}" dt="2022-02-02T12:46:41.555" v="1333" actId="478"/>
          <ac:spMkLst>
            <pc:docMk/>
            <pc:sldMk cId="684571084" sldId="366"/>
            <ac:spMk id="12" creationId="{B8C845D7-D493-4B2A-A4B0-A84E336CDB73}"/>
          </ac:spMkLst>
        </pc:spChg>
        <pc:spChg chg="mod">
          <ac:chgData name="Kumari, Rekha" userId="f873e4df-22f8-4c1d-beee-7e9cceb29a14" providerId="ADAL" clId="{BF329CC4-BB2E-46D8-A98F-E0C74213AB51}" dt="2022-02-02T11:05:11.282" v="3" actId="255"/>
          <ac:spMkLst>
            <pc:docMk/>
            <pc:sldMk cId="684571084" sldId="366"/>
            <ac:spMk id="16" creationId="{6D6DA9F7-DB64-4567-BE8E-E069C1B10127}"/>
          </ac:spMkLst>
        </pc:spChg>
        <pc:picChg chg="add del mod modCrop">
          <ac:chgData name="Kumari, Rekha" userId="f873e4df-22f8-4c1d-beee-7e9cceb29a14" providerId="ADAL" clId="{BF329CC4-BB2E-46D8-A98F-E0C74213AB51}" dt="2022-02-02T12:47:48.951" v="1350" actId="732"/>
          <ac:picMkLst>
            <pc:docMk/>
            <pc:sldMk cId="684571084" sldId="366"/>
            <ac:picMk id="8" creationId="{A1CF21FF-C68D-4886-91EF-6A2087D3DC1F}"/>
          </ac:picMkLst>
        </pc:picChg>
        <pc:picChg chg="add del mod">
          <ac:chgData name="Kumari, Rekha" userId="f873e4df-22f8-4c1d-beee-7e9cceb29a14" providerId="ADAL" clId="{BF329CC4-BB2E-46D8-A98F-E0C74213AB51}" dt="2022-02-02T12:47:03.932" v="1341"/>
          <ac:picMkLst>
            <pc:docMk/>
            <pc:sldMk cId="684571084" sldId="366"/>
            <ac:picMk id="19" creationId="{9D4F7B69-F381-4209-9454-4173BB71BC76}"/>
          </ac:picMkLst>
        </pc:picChg>
        <pc:picChg chg="add mod">
          <ac:chgData name="Kumari, Rekha" userId="f873e4df-22f8-4c1d-beee-7e9cceb29a14" providerId="ADAL" clId="{BF329CC4-BB2E-46D8-A98F-E0C74213AB51}" dt="2022-02-02T12:48:01.859" v="1352" actId="1076"/>
          <ac:picMkLst>
            <pc:docMk/>
            <pc:sldMk cId="684571084" sldId="366"/>
            <ac:picMk id="3074" creationId="{D214EA6F-E1A8-4023-993F-843C0443E8C6}"/>
          </ac:picMkLst>
        </pc:picChg>
      </pc:sldChg>
      <pc:sldChg chg="modSp mod">
        <pc:chgData name="Kumari, Rekha" userId="f873e4df-22f8-4c1d-beee-7e9cceb29a14" providerId="ADAL" clId="{BF329CC4-BB2E-46D8-A98F-E0C74213AB51}" dt="2022-02-02T12:47:10.249" v="1345" actId="20577"/>
        <pc:sldMkLst>
          <pc:docMk/>
          <pc:sldMk cId="1022597847" sldId="367"/>
        </pc:sldMkLst>
        <pc:spChg chg="mod">
          <ac:chgData name="Kumari, Rekha" userId="f873e4df-22f8-4c1d-beee-7e9cceb29a14" providerId="ADAL" clId="{BF329CC4-BB2E-46D8-A98F-E0C74213AB51}" dt="2022-02-02T12:07:11.853" v="873" actId="20577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Kumari, Rekha" userId="f873e4df-22f8-4c1d-beee-7e9cceb29a14" providerId="ADAL" clId="{BF329CC4-BB2E-46D8-A98F-E0C74213AB51}" dt="2022-02-02T12:47:10.249" v="1345" actId="20577"/>
          <ac:spMkLst>
            <pc:docMk/>
            <pc:sldMk cId="1022597847" sldId="367"/>
            <ac:spMk id="6" creationId="{525CBB0E-B869-4882-8948-65DD257EDC97}"/>
          </ac:spMkLst>
        </pc:spChg>
      </pc:sldChg>
      <pc:sldChg chg="addSp delSp modSp">
        <pc:chgData name="Kumari, Rekha" userId="f873e4df-22f8-4c1d-beee-7e9cceb29a14" providerId="ADAL" clId="{BF329CC4-BB2E-46D8-A98F-E0C74213AB51}" dt="2022-02-02T11:05:45.673" v="7"/>
        <pc:sldMkLst>
          <pc:docMk/>
          <pc:sldMk cId="1336772705" sldId="369"/>
        </pc:sldMkLst>
        <pc:spChg chg="add mod">
          <ac:chgData name="Kumari, Rekha" userId="f873e4df-22f8-4c1d-beee-7e9cceb29a14" providerId="ADAL" clId="{BF329CC4-BB2E-46D8-A98F-E0C74213AB51}" dt="2022-02-02T11:05:44.958" v="6" actId="478"/>
          <ac:spMkLst>
            <pc:docMk/>
            <pc:sldMk cId="1336772705" sldId="369"/>
            <ac:spMk id="6" creationId="{2F14A12B-0B13-428D-A179-AA42BFDC2C54}"/>
          </ac:spMkLst>
        </pc:spChg>
        <pc:picChg chg="add">
          <ac:chgData name="Kumari, Rekha" userId="f873e4df-22f8-4c1d-beee-7e9cceb29a14" providerId="ADAL" clId="{BF329CC4-BB2E-46D8-A98F-E0C74213AB51}" dt="2022-02-02T11:05:45.673" v="7"/>
          <ac:picMkLst>
            <pc:docMk/>
            <pc:sldMk cId="1336772705" sldId="369"/>
            <ac:picMk id="7" creationId="{73DF21A0-967A-40C7-B8CF-55DC5728D947}"/>
          </ac:picMkLst>
        </pc:picChg>
        <pc:picChg chg="del">
          <ac:chgData name="Kumari, Rekha" userId="f873e4df-22f8-4c1d-beee-7e9cceb29a14" providerId="ADAL" clId="{BF329CC4-BB2E-46D8-A98F-E0C74213AB51}" dt="2022-02-02T11:05:44.958" v="6" actId="478"/>
          <ac:picMkLst>
            <pc:docMk/>
            <pc:sldMk cId="1336772705" sldId="369"/>
            <ac:picMk id="2050" creationId="{81C1E572-DE56-41D7-B458-32EDB0E1F934}"/>
          </ac:picMkLst>
        </pc:picChg>
      </pc:sldChg>
      <pc:sldChg chg="addSp delSp modSp">
        <pc:chgData name="Kumari, Rekha" userId="f873e4df-22f8-4c1d-beee-7e9cceb29a14" providerId="ADAL" clId="{BF329CC4-BB2E-46D8-A98F-E0C74213AB51}" dt="2022-02-02T11:06:02.145" v="11"/>
        <pc:sldMkLst>
          <pc:docMk/>
          <pc:sldMk cId="2723174052" sldId="370"/>
        </pc:sldMkLst>
        <pc:spChg chg="add mod">
          <ac:chgData name="Kumari, Rekha" userId="f873e4df-22f8-4c1d-beee-7e9cceb29a14" providerId="ADAL" clId="{BF329CC4-BB2E-46D8-A98F-E0C74213AB51}" dt="2022-02-02T11:05:39.487" v="4" actId="478"/>
          <ac:spMkLst>
            <pc:docMk/>
            <pc:sldMk cId="2723174052" sldId="370"/>
            <ac:spMk id="6" creationId="{C2A9B704-54E1-445E-A2C2-5EF6E1205D10}"/>
          </ac:spMkLst>
        </pc:spChg>
        <pc:picChg chg="del">
          <ac:chgData name="Kumari, Rekha" userId="f873e4df-22f8-4c1d-beee-7e9cceb29a14" providerId="ADAL" clId="{BF329CC4-BB2E-46D8-A98F-E0C74213AB51}" dt="2022-02-02T11:05:39.487" v="4" actId="478"/>
          <ac:picMkLst>
            <pc:docMk/>
            <pc:sldMk cId="2723174052" sldId="370"/>
            <ac:picMk id="7" creationId="{CAFD7B02-BDDE-4D1C-99F2-3589B83BC46E}"/>
          </ac:picMkLst>
        </pc:picChg>
        <pc:picChg chg="add del">
          <ac:chgData name="Kumari, Rekha" userId="f873e4df-22f8-4c1d-beee-7e9cceb29a14" providerId="ADAL" clId="{BF329CC4-BB2E-46D8-A98F-E0C74213AB51}" dt="2022-02-02T11:05:58.056" v="8" actId="478"/>
          <ac:picMkLst>
            <pc:docMk/>
            <pc:sldMk cId="2723174052" sldId="370"/>
            <ac:picMk id="1026" creationId="{64AC73D0-9F0C-4B6A-A5F0-04952D31BE39}"/>
          </ac:picMkLst>
        </pc:picChg>
        <pc:picChg chg="add del">
          <ac:chgData name="Kumari, Rekha" userId="f873e4df-22f8-4c1d-beee-7e9cceb29a14" providerId="ADAL" clId="{BF329CC4-BB2E-46D8-A98F-E0C74213AB51}" dt="2022-02-02T11:06:00.959" v="10"/>
          <ac:picMkLst>
            <pc:docMk/>
            <pc:sldMk cId="2723174052" sldId="370"/>
            <ac:picMk id="1028" creationId="{ACE3BB47-E7FA-4271-89CD-2BC0575ECD2C}"/>
          </ac:picMkLst>
        </pc:picChg>
        <pc:picChg chg="add">
          <ac:chgData name="Kumari, Rekha" userId="f873e4df-22f8-4c1d-beee-7e9cceb29a14" providerId="ADAL" clId="{BF329CC4-BB2E-46D8-A98F-E0C74213AB51}" dt="2022-02-02T11:06:02.145" v="11"/>
          <ac:picMkLst>
            <pc:docMk/>
            <pc:sldMk cId="2723174052" sldId="370"/>
            <ac:picMk id="1030" creationId="{81764D51-14A5-4043-9675-DBD5A2AEAF5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cloud.google.com/compute/docs/image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1CF21FF-C68D-4886-91EF-6A2087D3DC1F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86" t="50371" r="91789" b="47705"/>
          <a:stretch/>
        </p:blipFill>
        <p:spPr>
          <a:xfrm>
            <a:off x="-1489" y="1196752"/>
            <a:ext cx="45719" cy="45719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 sz="4400" dirty="0"/>
              <a:t>Google Compute Engine</a:t>
            </a:r>
            <a:r>
              <a:rPr lang="en-US" sz="4400" dirty="0"/>
              <a:t>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1271464" y="4887000"/>
            <a:ext cx="4727699" cy="38898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Chethan BG</a:t>
            </a:r>
          </a:p>
          <a:p>
            <a:r>
              <a:rPr lang="en-US" dirty="0"/>
              <a:t>Rekha Kumari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  <p:pic>
        <p:nvPicPr>
          <p:cNvPr id="3074" name="Picture 2" descr="image">
            <a:extLst>
              <a:ext uri="{FF2B5EF4-FFF2-40B4-BE49-F238E27FC236}">
                <a16:creationId xmlns:a16="http://schemas.microsoft.com/office/drawing/2014/main" id="{D214EA6F-E1A8-4023-993F-843C0443E8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0"/>
            <a:ext cx="6943725" cy="2200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Google Compute Engin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800"/>
            <a:ext cx="11467350" cy="4762800"/>
          </a:xfrm>
        </p:spPr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IN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cs typeface="Times New Roman" panose="02020603050405020304" pitchFamily="18" charset="0"/>
              </a:rPr>
              <a:t>Google Compute Engine and its </a:t>
            </a:r>
            <a:r>
              <a:rPr lang="en-US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cs typeface="Times New Roman" panose="02020603050405020304" pitchFamily="18" charset="0"/>
              </a:rPr>
              <a:t>capabilities</a:t>
            </a:r>
            <a:endParaRPr lang="en-IN" sz="1800" b="1" kern="0" dirty="0"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cs typeface="Times New Roman" panose="02020603050405020304" pitchFamily="18" charset="0"/>
            </a:endParaRP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/>
              <a:t>Google Compute Engine provider can be used for </a:t>
            </a:r>
            <a:r>
              <a:rPr lang="en-GB" dirty="0"/>
              <a:t>virtual machines (VMs</a:t>
            </a:r>
            <a:r>
              <a:rPr lang="en-US" dirty="0"/>
              <a:t>) instance, firewall, disk and image  management. 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/>
              <a:t>This Connector lets you create , start, stop, suspend or delete VMs on Google’s infrastructure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/>
              <a:t>With this Connector you can retrieves the list of managed instance groups and groups them by zone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/>
              <a:t>The </a:t>
            </a:r>
            <a:r>
              <a:rPr lang="en-US" dirty="0">
                <a:solidFill>
                  <a:srgbClr val="202124"/>
                </a:solidFill>
                <a:latin typeface="Roboto" panose="02000000000000000000" pitchFamily="2" charset="0"/>
              </a:rPr>
              <a:t>connect can be used for create and delete the firewall rules on GCP. Even it can fetch all the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firewall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rules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202124"/>
                </a:solidFill>
                <a:latin typeface="Roboto" panose="02000000000000000000" pitchFamily="2" charset="0"/>
              </a:rPr>
              <a:t>Persistent disks are required for running your VM instances. This connector can be used to create, list and delete 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persistent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disks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202124"/>
                </a:solidFill>
                <a:latin typeface="Roboto" panose="02000000000000000000" pitchFamily="2" charset="0"/>
              </a:rPr>
              <a:t>You can use images to create boot disks for your VM instances.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This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connector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let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you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to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create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,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delete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images.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It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can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also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retrieve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the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list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of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 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images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 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It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can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fetch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internal and external IPs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of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 VM </a:t>
            </a:r>
            <a:r>
              <a:rPr lang="de-DE" dirty="0" err="1">
                <a:solidFill>
                  <a:srgbClr val="202124"/>
                </a:solidFill>
                <a:latin typeface="Roboto" panose="02000000000000000000" pitchFamily="2" charset="0"/>
              </a:rPr>
              <a:t>instance</a:t>
            </a:r>
            <a:r>
              <a:rPr lang="de-DE" dirty="0">
                <a:solidFill>
                  <a:srgbClr val="202124"/>
                </a:solidFill>
                <a:latin typeface="Roboto" panose="02000000000000000000" pitchFamily="2" charset="0"/>
              </a:rPr>
              <a:t>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It enables health checking mechanisms that determine whether backend instances respond properly to traffic.</a:t>
            </a:r>
            <a:endParaRPr lang="en-US" dirty="0"/>
          </a:p>
          <a:p>
            <a:pPr marL="577350" lvl="2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202124"/>
                </a:solidFill>
                <a:latin typeface="Roboto" panose="02000000000000000000" pitchFamily="2" charset="0"/>
              </a:rPr>
              <a:t>This provider can be used to automate VMs maintenance activities.</a:t>
            </a:r>
          </a:p>
          <a:p>
            <a:pPr marL="577350" lvl="2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lvl="2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 of REST Resourc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14A12B-0B13-428D-A179-AA42BFDC2C54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7" name="Picture 2" descr="image">
            <a:extLst>
              <a:ext uri="{FF2B5EF4-FFF2-40B4-BE49-F238E27FC236}">
                <a16:creationId xmlns:a16="http://schemas.microsoft.com/office/drawing/2014/main" id="{73DF21A0-967A-40C7-B8CF-55DC5728D9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763" y="1528763"/>
            <a:ext cx="8372475" cy="380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F63D88-CEB5-4BF4-B115-AB3C72C15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 of flow servic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030054-24A9-42D0-A786-CB303F334C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9A11B8-2C4A-4387-A462-21CCF77F3B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058F4E7-7150-4C82-85B0-8D4C86585BF5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A9B704-54E1-445E-A2C2-5EF6E1205D10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81764D51-14A5-4043-9675-DBD5A2AEAF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6888" y="1423988"/>
            <a:ext cx="8658225" cy="401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31740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9662eb9-ad98-4e74-a8a2-04ed5d544db6}" enabled="0" method="" siteId="{d9662eb9-ad98-4e74-a8a2-04ed5d544db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11</Words>
  <Application>Microsoft Office PowerPoint</Application>
  <PresentationFormat>Widescreen</PresentationFormat>
  <Paragraphs>30</Paragraphs>
  <Slides>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Wingdings</vt:lpstr>
      <vt:lpstr>Symbol</vt:lpstr>
      <vt:lpstr>Roboto</vt:lpstr>
      <vt:lpstr>Rubik</vt:lpstr>
      <vt:lpstr>Trebuchet MS</vt:lpstr>
      <vt:lpstr>Software AG 2021</vt:lpstr>
      <vt:lpstr>Google Compute Engine Provider</vt:lpstr>
      <vt:lpstr>Google Compute Engine</vt:lpstr>
      <vt:lpstr>Screenshot of REST Resources</vt:lpstr>
      <vt:lpstr>Screenshot of flow services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Kumari, Rekha</cp:lastModifiedBy>
  <cp:revision>2</cp:revision>
  <dcterms:created xsi:type="dcterms:W3CDTF">2022-01-10T12:32:13Z</dcterms:created>
  <dcterms:modified xsi:type="dcterms:W3CDTF">2022-02-02T12:48:05Z</dcterms:modified>
</cp:coreProperties>
</file>